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27"/>
  </p:notesMasterIdLst>
  <p:handoutMasterIdLst>
    <p:handoutMasterId r:id="rId28"/>
  </p:handoutMasterIdLst>
  <p:sldIdLst>
    <p:sldId id="278" r:id="rId11"/>
    <p:sldId id="342" r:id="rId12"/>
    <p:sldId id="343" r:id="rId13"/>
    <p:sldId id="344" r:id="rId14"/>
    <p:sldId id="345" r:id="rId15"/>
    <p:sldId id="346" r:id="rId16"/>
    <p:sldId id="347" r:id="rId17"/>
    <p:sldId id="357" r:id="rId18"/>
    <p:sldId id="359" r:id="rId19"/>
    <p:sldId id="360" r:id="rId20"/>
    <p:sldId id="358" r:id="rId21"/>
    <p:sldId id="348" r:id="rId22"/>
    <p:sldId id="349" r:id="rId23"/>
    <p:sldId id="350" r:id="rId24"/>
    <p:sldId id="351" r:id="rId25"/>
    <p:sldId id="352" r:id="rId26"/>
  </p:sldIdLst>
  <p:sldSz cx="10688638" cy="6016625"/>
  <p:notesSz cx="6797675" cy="9926638"/>
  <p:custDataLst>
    <p:tags r:id="rId29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9D9D9"/>
    <a:srgbClr val="FFF2CC"/>
    <a:srgbClr val="FF7E83"/>
    <a:srgbClr val="73797C"/>
    <a:srgbClr val="FFFFFF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40" d="100"/>
          <a:sy n="140" d="100"/>
        </p:scale>
        <p:origin x="408" y="126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26/09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26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B6EEFD-3E4B-594D-810E-916B13FA7E1F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92157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26/09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26/09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6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heme" Target="../theme/theme2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.xml"/><Relationship Id="rId7" Type="http://schemas.openxmlformats.org/officeDocument/2006/relationships/image" Target="../media/image10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.xml"/><Relationship Id="rId7" Type="http://schemas.openxmlformats.org/officeDocument/2006/relationships/image" Target="../media/image10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.xml"/><Relationship Id="rId7" Type="http://schemas.openxmlformats.org/officeDocument/2006/relationships/image" Target="../media/image10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heme" Target="../theme/theme7.xml"/><Relationship Id="rId6" Type="http://schemas.openxmlformats.org/officeDocument/2006/relationships/image" Target="../media/image1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1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heme" Target="../theme/theme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270" imgH="270" progId="TCLayout.ActiveDocument.1">
                  <p:embed/>
                </p:oleObj>
              </mc:Choice>
              <mc:Fallback>
                <p:oleObj name="Diapositiva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7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.xml"/><Relationship Id="rId5" Type="http://schemas.openxmlformats.org/officeDocument/2006/relationships/image" Target="../media/image25.png"/><Relationship Id="rId4" Type="http://schemas.openxmlformats.org/officeDocument/2006/relationships/image" Target="../media/image6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.xml"/><Relationship Id="rId5" Type="http://schemas.openxmlformats.org/officeDocument/2006/relationships/image" Target="../media/image27.png"/><Relationship Id="rId4" Type="http://schemas.openxmlformats.org/officeDocument/2006/relationships/image" Target="../media/image6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3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4.xml"/><Relationship Id="rId5" Type="http://schemas.openxmlformats.org/officeDocument/2006/relationships/image" Target="../media/image21.png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.xml"/><Relationship Id="rId5" Type="http://schemas.openxmlformats.org/officeDocument/2006/relationships/image" Target="../media/image23.png"/><Relationship Id="rId4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95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9154" y="3161763"/>
            <a:ext cx="8213969" cy="787663"/>
          </a:xfrm>
        </p:spPr>
        <p:txBody>
          <a:bodyPr/>
          <a:lstStyle/>
          <a:p>
            <a:r>
              <a:rPr lang="it-IT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b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it-IT" b="0" dirty="0"/>
          </a:p>
        </p:txBody>
      </p:sp>
    </p:spTree>
    <p:extLst>
      <p:ext uri="{BB962C8B-B14F-4D97-AF65-F5344CB8AC3E}">
        <p14:creationId xmlns:p14="http://schemas.microsoft.com/office/powerpoint/2010/main" val="3007191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494310-D3C5-E5C0-2566-5EE3901345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BB290D-299E-749B-310C-566C68A73E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08" y="0"/>
            <a:ext cx="10658021" cy="60166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A30653F-1913-E7FE-75F7-EFE9364AF9CE}"/>
              </a:ext>
            </a:extLst>
          </p:cNvPr>
          <p:cNvSpPr txBox="1"/>
          <p:nvPr/>
        </p:nvSpPr>
        <p:spPr>
          <a:xfrm>
            <a:off x="1620619" y="450376"/>
            <a:ext cx="351378" cy="369332"/>
          </a:xfrm>
          <a:prstGeom prst="rect">
            <a:avLst/>
          </a:prstGeom>
          <a:solidFill>
            <a:srgbClr val="73797C"/>
          </a:solidFill>
        </p:spPr>
        <p:txBody>
          <a:bodyPr wrap="non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K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D09E9B-DE02-C2F4-03EF-9C957DB2BDE7}"/>
              </a:ext>
            </a:extLst>
          </p:cNvPr>
          <p:cNvSpPr/>
          <p:nvPr/>
        </p:nvSpPr>
        <p:spPr>
          <a:xfrm>
            <a:off x="7233313" y="1263261"/>
            <a:ext cx="354842" cy="108339"/>
          </a:xfrm>
          <a:prstGeom prst="rect">
            <a:avLst/>
          </a:prstGeom>
          <a:solidFill>
            <a:srgbClr val="FFF2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354AED-795F-580A-1802-DA630238F987}"/>
              </a:ext>
            </a:extLst>
          </p:cNvPr>
          <p:cNvSpPr/>
          <p:nvPr/>
        </p:nvSpPr>
        <p:spPr>
          <a:xfrm>
            <a:off x="5556912" y="4865426"/>
            <a:ext cx="973541" cy="13462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tx1"/>
                </a:solidFill>
              </a:rPr>
              <a:t>K00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9C8ED6-5F20-9265-74EC-DE371E702E90}"/>
              </a:ext>
            </a:extLst>
          </p:cNvPr>
          <p:cNvSpPr/>
          <p:nvPr/>
        </p:nvSpPr>
        <p:spPr>
          <a:xfrm>
            <a:off x="2208661" y="1073623"/>
            <a:ext cx="425357" cy="141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700" b="1" dirty="0">
                <a:solidFill>
                  <a:schemeClr val="tx1"/>
                </a:solidFill>
              </a:rPr>
              <a:t>K005</a:t>
            </a:r>
          </a:p>
        </p:txBody>
      </p:sp>
    </p:spTree>
    <p:extLst>
      <p:ext uri="{BB962C8B-B14F-4D97-AF65-F5344CB8AC3E}">
        <p14:creationId xmlns:p14="http://schemas.microsoft.com/office/powerpoint/2010/main" val="19124551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62703B-DB1D-9DC0-8727-4E06B33255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E26ECEF-DBB8-D9BD-E14B-58851494A9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08" y="0"/>
            <a:ext cx="10658021" cy="60166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6A9068D-ABE9-3A59-204A-1A4E09267A71}"/>
              </a:ext>
            </a:extLst>
          </p:cNvPr>
          <p:cNvSpPr txBox="1"/>
          <p:nvPr/>
        </p:nvSpPr>
        <p:spPr>
          <a:xfrm>
            <a:off x="1620619" y="450376"/>
            <a:ext cx="351378" cy="369332"/>
          </a:xfrm>
          <a:prstGeom prst="rect">
            <a:avLst/>
          </a:prstGeom>
          <a:solidFill>
            <a:srgbClr val="73797C"/>
          </a:solidFill>
        </p:spPr>
        <p:txBody>
          <a:bodyPr wrap="non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246A13-5F1D-80F3-9456-E498B9D5A0B9}"/>
              </a:ext>
            </a:extLst>
          </p:cNvPr>
          <p:cNvSpPr/>
          <p:nvPr/>
        </p:nvSpPr>
        <p:spPr>
          <a:xfrm>
            <a:off x="7233313" y="1263261"/>
            <a:ext cx="354842" cy="108339"/>
          </a:xfrm>
          <a:prstGeom prst="rect">
            <a:avLst/>
          </a:prstGeom>
          <a:solidFill>
            <a:srgbClr val="FFF2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5C65F7-4377-4618-F464-78A488A3B4A7}"/>
              </a:ext>
            </a:extLst>
          </p:cNvPr>
          <p:cNvSpPr/>
          <p:nvPr/>
        </p:nvSpPr>
        <p:spPr>
          <a:xfrm>
            <a:off x="5556912" y="4865426"/>
            <a:ext cx="973541" cy="13462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tx1"/>
                </a:solidFill>
              </a:rPr>
              <a:t>D00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1BC533A-EA31-660A-C206-69B9EAC0E50E}"/>
              </a:ext>
            </a:extLst>
          </p:cNvPr>
          <p:cNvSpPr/>
          <p:nvPr/>
        </p:nvSpPr>
        <p:spPr>
          <a:xfrm>
            <a:off x="2208661" y="1073623"/>
            <a:ext cx="425357" cy="141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700" b="1" dirty="0">
                <a:solidFill>
                  <a:schemeClr val="tx1"/>
                </a:solidFill>
              </a:rPr>
              <a:t>D005</a:t>
            </a:r>
          </a:p>
        </p:txBody>
      </p:sp>
    </p:spTree>
    <p:extLst>
      <p:ext uri="{BB962C8B-B14F-4D97-AF65-F5344CB8AC3E}">
        <p14:creationId xmlns:p14="http://schemas.microsoft.com/office/powerpoint/2010/main" val="42405638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93BB26-AA2C-0B1A-0EBB-DD30B2F81E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1A5C58A5-67EB-5162-A4D5-C570ACE89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D698E4A-26A3-2567-6337-4484224DEC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399"/>
            <a:ext cx="10688638" cy="601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583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CDE7E-ABE8-E0FC-F587-3DE56DA242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5CA8625-A4A1-B410-35A3-7EDF73AAC1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3" y="0"/>
            <a:ext cx="10675412" cy="601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606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9FD9A-B432-6D56-9369-A2BE5525EE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8C906A58-EAA9-2D3A-E089-3CE6270E61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0070BFD0-D295-5366-9525-90793257C4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623"/>
            <a:ext cx="10688638" cy="6011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6428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8405DE-D3C0-AF9B-24BF-59168CDF5B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2911F0-8522-C00A-6DF9-2CEAE3C674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4" y="0"/>
            <a:ext cx="10673649" cy="601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2937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FFB249-2923-0FDA-01FE-D448B7FE0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F674A53-0C26-90E0-9091-5BA57A838F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0" y="0"/>
            <a:ext cx="10616658" cy="601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526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3D91E67-CAFC-D7D6-F019-7AD3237D10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133"/>
            <a:ext cx="10688638" cy="601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991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B4BCF8C-3604-632F-9BC5-B257A3B626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8" y="0"/>
            <a:ext cx="10671881" cy="601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16B2CF-A4BB-78FA-D743-F2AFBD599D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4C3E4174-341B-A875-A9B8-36D21958BE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42602154-1C3D-7BD5-DC23-FE0494B448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02" y="0"/>
            <a:ext cx="10649033" cy="601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455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D825AE-C0F4-428D-4D39-CC48EDC7C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BF2A80-19DF-250E-42C7-6DFAC22CA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2" y="0"/>
            <a:ext cx="10552354" cy="601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2245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58CE52-F1A4-B697-6367-8DF829A3A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5E0CE8E8-4F93-6584-8D3D-775EB0439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60A3A1C-2B4B-0F73-9634-8CB948276B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184"/>
            <a:ext cx="10688638" cy="5996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519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10B92B-411F-CC0F-B0F3-E7958D452F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FF7B9C1-D5D6-020C-908D-CA3C507607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08" y="0"/>
            <a:ext cx="10658021" cy="60166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B406B9F-B436-BDB1-83D3-D6A14E2BD47E}"/>
              </a:ext>
            </a:extLst>
          </p:cNvPr>
          <p:cNvSpPr/>
          <p:nvPr/>
        </p:nvSpPr>
        <p:spPr>
          <a:xfrm>
            <a:off x="2208661" y="1073623"/>
            <a:ext cx="425357" cy="141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700" b="1" dirty="0">
                <a:solidFill>
                  <a:schemeClr val="tx1"/>
                </a:solidFill>
              </a:rPr>
              <a:t>A005</a:t>
            </a:r>
          </a:p>
        </p:txBody>
      </p:sp>
    </p:spTree>
    <p:extLst>
      <p:ext uri="{BB962C8B-B14F-4D97-AF65-F5344CB8AC3E}">
        <p14:creationId xmlns:p14="http://schemas.microsoft.com/office/powerpoint/2010/main" val="25593475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966AC8-3970-3BD5-FDCE-7EED4C24E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56CF5E-621C-53A8-F2CF-7654577814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08" y="0"/>
            <a:ext cx="10658021" cy="60166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397753E-2EB6-AD8C-6AB9-018F67539C94}"/>
              </a:ext>
            </a:extLst>
          </p:cNvPr>
          <p:cNvSpPr txBox="1"/>
          <p:nvPr/>
        </p:nvSpPr>
        <p:spPr>
          <a:xfrm>
            <a:off x="1620619" y="450376"/>
            <a:ext cx="351378" cy="369332"/>
          </a:xfrm>
          <a:prstGeom prst="rect">
            <a:avLst/>
          </a:prstGeom>
          <a:solidFill>
            <a:srgbClr val="73797C"/>
          </a:solidFill>
        </p:spPr>
        <p:txBody>
          <a:bodyPr wrap="non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5B1338-C8FE-81E1-6983-6A279B15D101}"/>
              </a:ext>
            </a:extLst>
          </p:cNvPr>
          <p:cNvSpPr/>
          <p:nvPr/>
        </p:nvSpPr>
        <p:spPr>
          <a:xfrm>
            <a:off x="7233313" y="1263261"/>
            <a:ext cx="354842" cy="108339"/>
          </a:xfrm>
          <a:prstGeom prst="rect">
            <a:avLst/>
          </a:prstGeom>
          <a:solidFill>
            <a:srgbClr val="FFF2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C22501-6D4B-F81D-E7B5-A58BA309FA9F}"/>
              </a:ext>
            </a:extLst>
          </p:cNvPr>
          <p:cNvSpPr/>
          <p:nvPr/>
        </p:nvSpPr>
        <p:spPr>
          <a:xfrm>
            <a:off x="5556912" y="4865426"/>
            <a:ext cx="973541" cy="13462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tx1"/>
                </a:solidFill>
              </a:rPr>
              <a:t>C00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04894D-3719-28DD-8BA4-4D8E94F3C96F}"/>
              </a:ext>
            </a:extLst>
          </p:cNvPr>
          <p:cNvSpPr/>
          <p:nvPr/>
        </p:nvSpPr>
        <p:spPr>
          <a:xfrm>
            <a:off x="2208661" y="1073623"/>
            <a:ext cx="425357" cy="141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700" b="1" dirty="0">
                <a:solidFill>
                  <a:schemeClr val="tx1"/>
                </a:solidFill>
              </a:rPr>
              <a:t>C005</a:t>
            </a:r>
          </a:p>
        </p:txBody>
      </p:sp>
    </p:spTree>
    <p:extLst>
      <p:ext uri="{BB962C8B-B14F-4D97-AF65-F5344CB8AC3E}">
        <p14:creationId xmlns:p14="http://schemas.microsoft.com/office/powerpoint/2010/main" val="33274948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6B087D-E5BD-C841-6CA7-F9606D3DEA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3E13D93-1BE8-13B6-4E9B-AF2C86F240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08" y="0"/>
            <a:ext cx="10658021" cy="60166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0B0A6A9-2D28-2725-AB57-020F19074E70}"/>
              </a:ext>
            </a:extLst>
          </p:cNvPr>
          <p:cNvSpPr txBox="1"/>
          <p:nvPr/>
        </p:nvSpPr>
        <p:spPr>
          <a:xfrm>
            <a:off x="1620619" y="450376"/>
            <a:ext cx="351378" cy="369332"/>
          </a:xfrm>
          <a:prstGeom prst="rect">
            <a:avLst/>
          </a:prstGeom>
          <a:solidFill>
            <a:srgbClr val="73797C"/>
          </a:solidFill>
        </p:spPr>
        <p:txBody>
          <a:bodyPr wrap="non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860948-1977-CDA9-3AAC-867BA1960DC9}"/>
              </a:ext>
            </a:extLst>
          </p:cNvPr>
          <p:cNvSpPr/>
          <p:nvPr/>
        </p:nvSpPr>
        <p:spPr>
          <a:xfrm>
            <a:off x="7233313" y="1263261"/>
            <a:ext cx="354842" cy="108339"/>
          </a:xfrm>
          <a:prstGeom prst="rect">
            <a:avLst/>
          </a:prstGeom>
          <a:solidFill>
            <a:srgbClr val="FFF2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7E73DA2-8F91-7DFA-EE40-2C5BE91F6092}"/>
              </a:ext>
            </a:extLst>
          </p:cNvPr>
          <p:cNvSpPr/>
          <p:nvPr/>
        </p:nvSpPr>
        <p:spPr>
          <a:xfrm>
            <a:off x="5556912" y="4865426"/>
            <a:ext cx="973541" cy="13462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tx1"/>
                </a:solidFill>
              </a:rPr>
              <a:t>R00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D19895-C101-1429-EBBD-4336A3FA5BA2}"/>
              </a:ext>
            </a:extLst>
          </p:cNvPr>
          <p:cNvSpPr/>
          <p:nvPr/>
        </p:nvSpPr>
        <p:spPr>
          <a:xfrm>
            <a:off x="2208661" y="1073623"/>
            <a:ext cx="425357" cy="141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700" b="1" dirty="0">
                <a:solidFill>
                  <a:schemeClr val="tx1"/>
                </a:solidFill>
              </a:rPr>
              <a:t>R005</a:t>
            </a:r>
          </a:p>
        </p:txBody>
      </p:sp>
    </p:spTree>
    <p:extLst>
      <p:ext uri="{BB962C8B-B14F-4D97-AF65-F5344CB8AC3E}">
        <p14:creationId xmlns:p14="http://schemas.microsoft.com/office/powerpoint/2010/main" val="3214199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cV_SYXSF2TtK37FxJK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397</TotalTime>
  <Words>19</Words>
  <Application>Microsoft Office PowerPoint</Application>
  <PresentationFormat>Custom</PresentationFormat>
  <Paragraphs>15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 09/202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Perrino, Francesco</cp:lastModifiedBy>
  <cp:revision>502</cp:revision>
  <cp:lastPrinted>2017-08-08T07:27:09Z</cp:lastPrinted>
  <dcterms:created xsi:type="dcterms:W3CDTF">2015-06-10T12:48:40Z</dcterms:created>
  <dcterms:modified xsi:type="dcterms:W3CDTF">2025-09-26T14:50:04Z</dcterms:modified>
</cp:coreProperties>
</file>